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BAD05C99-2364-4E0D-A291-8530A2923B7C}">
          <p14:sldIdLst>
            <p14:sldId id="2147475173"/>
            <p14:sldId id="2147475174"/>
            <p14:sldId id="2147475175"/>
            <p14:sldId id="2147475176"/>
            <p14:sldId id="2147475177"/>
            <p14:sldId id="2147475178"/>
            <p14:sldId id="2147475179"/>
            <p14:sldId id="2147475180"/>
            <p14:sldId id="2147475181"/>
          </p14:sldIdLst>
        </p14:section>
        <p14:section name="Brackets By Segment" id="{BF2340ED-FDF3-4B39-B492-555116C9F006}">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8073944138045</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595050014481613</c:v>
                </c:pt>
                <c:pt idx="3">
                  <c:v>0.0006233384922911094</c:v>
                </c:pt>
                <c:pt idx="5">
                  <c:v>0.0017076344744566142</c:v>
                </c:pt>
                <c:pt idx="6">
                  <c:v>0.0010908917564962386</c:v>
                </c:pt>
                <c:pt idx="7">
                  <c:v>0.003575936948623757</c:v>
                </c:pt>
                <c:pt idx="8">
                  <c:v>0.004025222686110138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69849793661685</c:v>
                </c:pt>
                <c:pt idx="3">
                  <c:v>0.004719261740870543</c:v>
                </c:pt>
                <c:pt idx="4">
                  <c:v>0.0018414012440139517</c:v>
                </c:pt>
                <c:pt idx="5">
                  <c:v>0.004724903703151538</c:v>
                </c:pt>
                <c:pt idx="6">
                  <c:v>0.012834760439335215</c:v>
                </c:pt>
                <c:pt idx="7">
                  <c:v>0.011374123795497989</c:v>
                </c:pt>
                <c:pt idx="8">
                  <c:v>0.026910666525160835</c:v>
                </c:pt>
                <c:pt idx="9">
                  <c:v>0.012338914910114336</c:v>
                </c:pt>
                <c:pt idx="10">
                  <c:v>0.0097369264435810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46884843253124</c:v>
                </c:pt>
                <c:pt idx="1">
                  <c:v>0.001694367418354392</c:v>
                </c:pt>
                <c:pt idx="2">
                  <c:v>0.002269493959508868</c:v>
                </c:pt>
                <c:pt idx="3">
                  <c:v>0.006171832852254268</c:v>
                </c:pt>
                <c:pt idx="4">
                  <c:v>0.008240711645542778</c:v>
                </c:pt>
                <c:pt idx="5">
                  <c:v>0.009273264063648444</c:v>
                </c:pt>
                <c:pt idx="6">
                  <c:v>0.014397760861240822</c:v>
                </c:pt>
                <c:pt idx="7">
                  <c:v>0.02850117635299457</c:v>
                </c:pt>
                <c:pt idx="8">
                  <c:v>0.024787881079015667</c:v>
                </c:pt>
                <c:pt idx="9">
                  <c:v>0.0069353965086264195</c:v>
                </c:pt>
                <c:pt idx="10">
                  <c:v>0.03313138163395850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354236471197323</c:v>
                </c:pt>
                <c:pt idx="1">
                  <c:v>0.0028481256152342576</c:v>
                </c:pt>
                <c:pt idx="2">
                  <c:v>0.0016651367772222779</c:v>
                </c:pt>
                <c:pt idx="3">
                  <c:v>0.002012730071109271</c:v>
                </c:pt>
                <c:pt idx="4">
                  <c:v>0.0034941084931523277</c:v>
                </c:pt>
                <c:pt idx="5">
                  <c:v>0.02344434438430792</c:v>
                </c:pt>
                <c:pt idx="6">
                  <c:v>0.020397160059468525</c:v>
                </c:pt>
                <c:pt idx="7">
                  <c:v>0.02262213858798551</c:v>
                </c:pt>
                <c:pt idx="8">
                  <c:v>0.04228425815193435</c:v>
                </c:pt>
                <c:pt idx="9">
                  <c:v>0.028330681580832563</c:v>
                </c:pt>
                <c:pt idx="10">
                  <c:v>0.00328527755139362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5343562744646175</c:v>
                </c:pt>
                <c:pt idx="1">
                  <c:v>0.002260718116854605</c:v>
                </c:pt>
                <c:pt idx="2">
                  <c:v>0.004309753889157988</c:v>
                </c:pt>
                <c:pt idx="3">
                  <c:v>0.002255669537579064</c:v>
                </c:pt>
                <c:pt idx="4">
                  <c:v>0.005471276746423338</c:v>
                </c:pt>
                <c:pt idx="5">
                  <c:v>0.006631434038116196</c:v>
                </c:pt>
                <c:pt idx="6">
                  <c:v>0.01362252802513622</c:v>
                </c:pt>
                <c:pt idx="7">
                  <c:v>0.01852040615451353</c:v>
                </c:pt>
                <c:pt idx="8">
                  <c:v>0.03974849910113582</c:v>
                </c:pt>
                <c:pt idx="9">
                  <c:v>0.00745210151504510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5640238250601</c:v>
                </c:pt>
                <c:pt idx="1">
                  <c:v>0.0007265239765461031</c:v>
                </c:pt>
                <c:pt idx="2">
                  <c:v>0.0009852248173185874</c:v>
                </c:pt>
                <c:pt idx="3">
                  <c:v>0.0008997202943141271</c:v>
                </c:pt>
                <c:pt idx="4">
                  <c:v>0.0015631200503892564</c:v>
                </c:pt>
                <c:pt idx="5">
                  <c:v>0.004601542810812763</c:v>
                </c:pt>
                <c:pt idx="6">
                  <c:v>0.007613984065446617</c:v>
                </c:pt>
                <c:pt idx="7">
                  <c:v>0.0024807988954890937</c:v>
                </c:pt>
                <c:pt idx="8">
                  <c:v>0.00100352848984798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2283974907138537</c:v>
                </c:pt>
                <c:pt idx="1">
                  <c:v>0.0012172734612534513</c:v>
                </c:pt>
                <c:pt idx="2">
                  <c:v>0.0027487579044518065</c:v>
                </c:pt>
                <c:pt idx="3">
                  <c:v>0.01335931207346219</c:v>
                </c:pt>
                <c:pt idx="4">
                  <c:v>0.010399295814741064</c:v>
                </c:pt>
                <c:pt idx="5">
                  <c:v>0.010059823595750368</c:v>
                </c:pt>
                <c:pt idx="6">
                  <c:v>0.005646838277871574</c:v>
                </c:pt>
                <c:pt idx="7">
                  <c:v>0.016440487212685942</c:v>
                </c:pt>
                <c:pt idx="8">
                  <c:v>0.013500672267151436</c:v>
                </c:pt>
                <c:pt idx="9">
                  <c:v>0.0015529605370731888</c:v>
                </c:pt>
                <c:pt idx="10">
                  <c:v>0.0007257495503223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3943019083519984</c:v>
                </c:pt>
                <c:pt idx="3">
                  <c:v>0.002775978269537971</c:v>
                </c:pt>
                <c:pt idx="5">
                  <c:v>0.0019749023285045237</c:v>
                </c:pt>
                <c:pt idx="6">
                  <c:v>0.001335431993102334</c:v>
                </c:pt>
                <c:pt idx="7">
                  <c:v>0.004218068002412251</c:v>
                </c:pt>
                <c:pt idx="8">
                  <c:v>0.004147000408170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119656991224154</c:v>
                </c:pt>
                <c:pt idx="2">
                  <c:v>0.0005498796306097154</c:v>
                </c:pt>
                <c:pt idx="3">
                  <c:v>0.0054790220975229195</c:v>
                </c:pt>
                <c:pt idx="4">
                  <c:v>0.0021480234257978477</c:v>
                </c:pt>
                <c:pt idx="5">
                  <c:v>0.0072435202809828965</c:v>
                </c:pt>
                <c:pt idx="6">
                  <c:v>0.009192403527163818</c:v>
                </c:pt>
                <c:pt idx="7">
                  <c:v>0.023093550474951558</c:v>
                </c:pt>
                <c:pt idx="8">
                  <c:v>0.022894590773574284</c:v>
                </c:pt>
                <c:pt idx="9">
                  <c:v>0.014366914735640354</c:v>
                </c:pt>
                <c:pt idx="10">
                  <c:v>0.0043159950052606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7672352298782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79197057293319</c:v>
                </c:pt>
                <c:pt idx="1">
                  <c:v>0.0022741474994999182</c:v>
                </c:pt>
                <c:pt idx="2">
                  <c:v>0.004968498156167747</c:v>
                </c:pt>
                <c:pt idx="3">
                  <c:v>0.0075320592541419885</c:v>
                </c:pt>
                <c:pt idx="4">
                  <c:v>0.005652867557705702</c:v>
                </c:pt>
                <c:pt idx="5">
                  <c:v>0.01681016789576227</c:v>
                </c:pt>
                <c:pt idx="6">
                  <c:v>0.02246927951057372</c:v>
                </c:pt>
                <c:pt idx="7">
                  <c:v>0.025849711253803524</c:v>
                </c:pt>
                <c:pt idx="8">
                  <c:v>0.026954924877749777</c:v>
                </c:pt>
                <c:pt idx="9">
                  <c:v>0.0319403920716628</c:v>
                </c:pt>
                <c:pt idx="10">
                  <c:v>0.009844459157368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1716314862516555</c:v>
                </c:pt>
                <c:pt idx="1">
                  <c:v>0.003723343665140903</c:v>
                </c:pt>
                <c:pt idx="2">
                  <c:v>0.0015282791169964113</c:v>
                </c:pt>
                <c:pt idx="3">
                  <c:v>0.0033419670121628575</c:v>
                </c:pt>
                <c:pt idx="4">
                  <c:v>0.009027742041112771</c:v>
                </c:pt>
                <c:pt idx="5">
                  <c:v>0.02383385261455253</c:v>
                </c:pt>
                <c:pt idx="6">
                  <c:v>0.021544636407007194</c:v>
                </c:pt>
                <c:pt idx="7">
                  <c:v>0.028005359681065715</c:v>
                </c:pt>
                <c:pt idx="8">
                  <c:v>0.039876469423101024</c:v>
                </c:pt>
                <c:pt idx="9">
                  <c:v>0.025318745089394322</c:v>
                </c:pt>
                <c:pt idx="10">
                  <c:v>0.00103289983154316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783334382924543</c:v>
                </c:pt>
                <c:pt idx="1">
                  <c:v>0.013830067103891943</c:v>
                </c:pt>
                <c:pt idx="2">
                  <c:v>0.015597828595250766</c:v>
                </c:pt>
                <c:pt idx="3">
                  <c:v>0.03313442385553859</c:v>
                </c:pt>
                <c:pt idx="4">
                  <c:v>0.03727445502707049</c:v>
                </c:pt>
                <c:pt idx="5">
                  <c:v>0.07337873488028746</c:v>
                </c:pt>
                <c:pt idx="6">
                  <c:v>0.0825184599942073</c:v>
                </c:pt>
                <c:pt idx="7">
                  <c:v>0.11670735042260552</c:v>
                </c:pt>
                <c:pt idx="8">
                  <c:v>0.12816454189675958</c:v>
                </c:pt>
                <c:pt idx="9">
                  <c:v>0.08445714009502081</c:v>
                </c:pt>
                <c:pt idx="10">
                  <c:v>0.016466452396530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77603547950665</c:v>
                </c:pt>
                <c:pt idx="1">
                  <c:v>0.004339956962309663</c:v>
                </c:pt>
                <c:pt idx="2">
                  <c:v>0.003947380042106227</c:v>
                </c:pt>
                <c:pt idx="3">
                  <c:v>0.002780967962045965</c:v>
                </c:pt>
                <c:pt idx="4">
                  <c:v>0.007076811469380697</c:v>
                </c:pt>
                <c:pt idx="5">
                  <c:v>0.009302452787882687</c:v>
                </c:pt>
                <c:pt idx="6">
                  <c:v>0.01905047613364946</c:v>
                </c:pt>
                <c:pt idx="7">
                  <c:v>0.022120395473881775</c:v>
                </c:pt>
                <c:pt idx="8">
                  <c:v>0.022845689337065083</c:v>
                </c:pt>
                <c:pt idx="9">
                  <c:v>0.010997582812470888</c:v>
                </c:pt>
                <c:pt idx="10">
                  <c:v>0.00054734885203651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26691351108325</c:v>
                </c:pt>
                <c:pt idx="2">
                  <c:v>0.0018550337449188587</c:v>
                </c:pt>
                <c:pt idx="3">
                  <c:v>0.0006410954562026658</c:v>
                </c:pt>
                <c:pt idx="4">
                  <c:v>0.002969714718332409</c:v>
                </c:pt>
                <c:pt idx="5">
                  <c:v>0.0061289177053567056</c:v>
                </c:pt>
                <c:pt idx="6">
                  <c:v>0.004614826137941536</c:v>
                </c:pt>
                <c:pt idx="7">
                  <c:v>0.001197846326217007</c:v>
                </c:pt>
                <c:pt idx="8">
                  <c:v>0.0020921952181179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3943019083519984</c:v>
                </c:pt>
                <c:pt idx="3">
                  <c:v>0.002775978269537971</c:v>
                </c:pt>
                <c:pt idx="5">
                  <c:v>0.0019749023285045237</c:v>
                </c:pt>
                <c:pt idx="6">
                  <c:v>0.001754079444177327</c:v>
                </c:pt>
                <c:pt idx="7">
                  <c:v>0.004794791525400081</c:v>
                </c:pt>
                <c:pt idx="8">
                  <c:v>0.00444446284614731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934679355513318</c:v>
                </c:pt>
                <c:pt idx="1">
                  <c:v>0.0009385705822158571</c:v>
                </c:pt>
                <c:pt idx="2">
                  <c:v>0.002603057185020395</c:v>
                </c:pt>
                <c:pt idx="3">
                  <c:v>0.011130471925289312</c:v>
                </c:pt>
                <c:pt idx="4">
                  <c:v>0.003613119636486283</c:v>
                </c:pt>
                <c:pt idx="5">
                  <c:v>0.0066042102745516845</c:v>
                </c:pt>
                <c:pt idx="6">
                  <c:v>0.0025000050162253718</c:v>
                </c:pt>
                <c:pt idx="7">
                  <c:v>0.012084345547456542</c:v>
                </c:pt>
                <c:pt idx="8">
                  <c:v>0.008193150107511779</c:v>
                </c:pt>
                <c:pt idx="9">
                  <c:v>0.0048500639720784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9385705822158571</c:v>
                </c:pt>
                <c:pt idx="2">
                  <c:v>0.00167359112290561</c:v>
                </c:pt>
                <c:pt idx="5">
                  <c:v>0.0020171826664920583</c:v>
                </c:pt>
                <c:pt idx="6">
                  <c:v>0.0015399009010999471</c:v>
                </c:pt>
                <c:pt idx="7">
                  <c:v>0.002399495064764642</c:v>
                </c:pt>
                <c:pt idx="8">
                  <c:v>0.003030703897718522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109149170475194</c:v>
                </c:pt>
                <c:pt idx="4">
                  <c:v>0.0017165317173201884</c:v>
                </c:pt>
                <c:pt idx="5">
                  <c:v>0.006397894914449541</c:v>
                </c:pt>
                <c:pt idx="6">
                  <c:v>0.008701560890749072</c:v>
                </c:pt>
                <c:pt idx="7">
                  <c:v>0.009063320264754158</c:v>
                </c:pt>
                <c:pt idx="8">
                  <c:v>0.02221673712109146</c:v>
                </c:pt>
                <c:pt idx="9">
                  <c:v>0.007315562189238088</c:v>
                </c:pt>
                <c:pt idx="10">
                  <c:v>0.00626597387128065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7947322551197997</c:v>
                </c:pt>
                <c:pt idx="3">
                  <c:v>0.008040658987751186</c:v>
                </c:pt>
                <c:pt idx="4">
                  <c:v>0.00209916810975276</c:v>
                </c:pt>
                <c:pt idx="5">
                  <c:v>0.0071185240040196425</c:v>
                </c:pt>
                <c:pt idx="6">
                  <c:v>0.010727048039131356</c:v>
                </c:pt>
                <c:pt idx="7">
                  <c:v>0.01825966144758874</c:v>
                </c:pt>
                <c:pt idx="8">
                  <c:v>0.012953053467897923</c:v>
                </c:pt>
                <c:pt idx="9">
                  <c:v>0.011640867883270043</c:v>
                </c:pt>
                <c:pt idx="10">
                  <c:v>0.01389800446142231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64570047281746</c:v>
                </c:pt>
                <c:pt idx="2">
                  <c:v>0.0010332714043895027</c:v>
                </c:pt>
                <c:pt idx="3">
                  <c:v>0.004467573043902422</c:v>
                </c:pt>
                <c:pt idx="4">
                  <c:v>0.010237677142811912</c:v>
                </c:pt>
                <c:pt idx="5">
                  <c:v>0.0025253225771895735</c:v>
                </c:pt>
                <c:pt idx="6">
                  <c:v>0.0030446009381332397</c:v>
                </c:pt>
                <c:pt idx="7">
                  <c:v>0.0035131706302403433</c:v>
                </c:pt>
                <c:pt idx="8">
                  <c:v>0.0056045206222133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365743979234998</c:v>
                </c:pt>
                <c:pt idx="1">
                  <c:v>0.0008207979945466326</c:v>
                </c:pt>
                <c:pt idx="2">
                  <c:v>0.0008480397929854662</c:v>
                </c:pt>
                <c:pt idx="3">
                  <c:v>0.0014716035005852386</c:v>
                </c:pt>
                <c:pt idx="4">
                  <c:v>0.00758154576329122</c:v>
                </c:pt>
                <c:pt idx="5">
                  <c:v>0.01834050296410036</c:v>
                </c:pt>
                <c:pt idx="6">
                  <c:v>0.015137883928319145</c:v>
                </c:pt>
                <c:pt idx="7">
                  <c:v>0.01981920023155692</c:v>
                </c:pt>
                <c:pt idx="8">
                  <c:v>0.02372092619221481</c:v>
                </c:pt>
                <c:pt idx="9">
                  <c:v>0.01509524743368631</c:v>
                </c:pt>
                <c:pt idx="10">
                  <c:v>0.00786485023566056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96557217024766</c:v>
                </c:pt>
                <c:pt idx="1">
                  <c:v>0.0006396078131407678</c:v>
                </c:pt>
                <c:pt idx="2">
                  <c:v>0.0011436112810833106</c:v>
                </c:pt>
                <c:pt idx="3">
                  <c:v>0.0008706888321037651</c:v>
                </c:pt>
                <c:pt idx="4">
                  <c:v>0.0036619077570778412</c:v>
                </c:pt>
                <c:pt idx="5">
                  <c:v>0.006439926762086433</c:v>
                </c:pt>
                <c:pt idx="6">
                  <c:v>0.014215378767049546</c:v>
                </c:pt>
                <c:pt idx="7">
                  <c:v>0.01119535175582695</c:v>
                </c:pt>
                <c:pt idx="8">
                  <c:v>0.025811853766293132</c:v>
                </c:pt>
                <c:pt idx="9">
                  <c:v>0.0055737049284121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904758443681435</c:v>
                </c:pt>
                <c:pt idx="3">
                  <c:v>0.0005739407336354372</c:v>
                </c:pt>
                <c:pt idx="4">
                  <c:v>0.0013769773114904352</c:v>
                </c:pt>
                <c:pt idx="5">
                  <c:v>0.003515581763032638</c:v>
                </c:pt>
                <c:pt idx="6">
                  <c:v>0.0027054251293064956</c:v>
                </c:pt>
                <c:pt idx="7">
                  <c:v>0.0030415235974297077</c:v>
                </c:pt>
                <c:pt idx="8">
                  <c:v>0.00145170485925929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90442815721382</c:v>
                </c:pt>
                <c:pt idx="1">
                  <c:v>0.0007279296158724671</c:v>
                </c:pt>
                <c:pt idx="2">
                  <c:v>0.0005917263077863692</c:v>
                </c:pt>
                <c:pt idx="3">
                  <c:v>0.002277705944230476</c:v>
                </c:pt>
                <c:pt idx="4">
                  <c:v>0.008394248166919199</c:v>
                </c:pt>
                <c:pt idx="5">
                  <c:v>0.006818256732142495</c:v>
                </c:pt>
                <c:pt idx="6">
                  <c:v>0.017657193596577147</c:v>
                </c:pt>
                <c:pt idx="7">
                  <c:v>0.02006858834158627</c:v>
                </c:pt>
                <c:pt idx="8">
                  <c:v>0.011604198991597167</c:v>
                </c:pt>
                <c:pt idx="9">
                  <c:v>0.0055342224032446435</c:v>
                </c:pt>
                <c:pt idx="10">
                  <c:v>0.00119412097590656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8073944138045</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7158776338552915</c:v>
                </c:pt>
                <c:pt idx="4">
                  <c:v>0.0009567560681312612</c:v>
                </c:pt>
                <c:pt idx="5">
                  <c:v>0.004289910868172863</c:v>
                </c:pt>
                <c:pt idx="6">
                  <c:v>0.0016156336102589046</c:v>
                </c:pt>
                <c:pt idx="7">
                  <c:v>0.004109636017257831</c:v>
                </c:pt>
                <c:pt idx="8">
                  <c:v>0.001715637105481614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69849793661685</c:v>
                </c:pt>
                <c:pt idx="3">
                  <c:v>0.004719261740870543</c:v>
                </c:pt>
                <c:pt idx="4">
                  <c:v>0.0018414012440139517</c:v>
                </c:pt>
                <c:pt idx="5">
                  <c:v>0.004724903703151538</c:v>
                </c:pt>
                <c:pt idx="6">
                  <c:v>0.012834760439335215</c:v>
                </c:pt>
                <c:pt idx="7">
                  <c:v>0.011374123795497989</c:v>
                </c:pt>
                <c:pt idx="8">
                  <c:v>0.026910666525160835</c:v>
                </c:pt>
                <c:pt idx="9">
                  <c:v>0.012338914910114336</c:v>
                </c:pt>
                <c:pt idx="10">
                  <c:v>0.0097369264435810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293431378912836</c:v>
                </c:pt>
                <c:pt idx="7">
                  <c:v>0.0019159741416494734</c:v>
                </c:pt>
                <c:pt idx="8">
                  <c:v>0.0015971254405960753</c:v>
                </c:pt>
                <c:pt idx="9">
                  <c:v>0.006878089411296356</c:v>
                </c:pt>
                <c:pt idx="10">
                  <c:v>0.0023498234136796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46884843253124</c:v>
                </c:pt>
                <c:pt idx="1">
                  <c:v>0.001694367418354392</c:v>
                </c:pt>
                <c:pt idx="2">
                  <c:v>0.002269493959508868</c:v>
                </c:pt>
                <c:pt idx="3">
                  <c:v>0.006171832852254268</c:v>
                </c:pt>
                <c:pt idx="4">
                  <c:v>0.008240711645542778</c:v>
                </c:pt>
                <c:pt idx="5">
                  <c:v>0.009273264063648444</c:v>
                </c:pt>
                <c:pt idx="6">
                  <c:v>0.014397760861240822</c:v>
                </c:pt>
                <c:pt idx="7">
                  <c:v>0.02850117635299457</c:v>
                </c:pt>
                <c:pt idx="8">
                  <c:v>0.024787881079015667</c:v>
                </c:pt>
                <c:pt idx="9">
                  <c:v>0.0069353965086264195</c:v>
                </c:pt>
                <c:pt idx="10">
                  <c:v>0.03313138163395850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354236471197323</c:v>
                </c:pt>
                <c:pt idx="1">
                  <c:v>0.0028481256152342576</c:v>
                </c:pt>
                <c:pt idx="2">
                  <c:v>0.0016651367772222779</c:v>
                </c:pt>
                <c:pt idx="3">
                  <c:v>0.002012730071109271</c:v>
                </c:pt>
                <c:pt idx="4">
                  <c:v>0.0034941084931523277</c:v>
                </c:pt>
                <c:pt idx="5">
                  <c:v>0.02344434438430792</c:v>
                </c:pt>
                <c:pt idx="6">
                  <c:v>0.020397160059468525</c:v>
                </c:pt>
                <c:pt idx="7">
                  <c:v>0.02262213858798551</c:v>
                </c:pt>
                <c:pt idx="8">
                  <c:v>0.04228425815193435</c:v>
                </c:pt>
                <c:pt idx="9">
                  <c:v>0.028330681580832563</c:v>
                </c:pt>
                <c:pt idx="10">
                  <c:v>0.00328527755139362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5343562744646175</c:v>
                </c:pt>
                <c:pt idx="1">
                  <c:v>0.002260718116854605</c:v>
                </c:pt>
                <c:pt idx="2">
                  <c:v>0.004309753889157988</c:v>
                </c:pt>
                <c:pt idx="3">
                  <c:v>0.002255669537579064</c:v>
                </c:pt>
                <c:pt idx="4">
                  <c:v>0.005471276746423338</c:v>
                </c:pt>
                <c:pt idx="5">
                  <c:v>0.006631434038116196</c:v>
                </c:pt>
                <c:pt idx="6">
                  <c:v>0.01362252802513622</c:v>
                </c:pt>
                <c:pt idx="7">
                  <c:v>0.01852040615451353</c:v>
                </c:pt>
                <c:pt idx="8">
                  <c:v>0.03974849910113582</c:v>
                </c:pt>
                <c:pt idx="9">
                  <c:v>0.00745210151504510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5640238250601</c:v>
                </c:pt>
                <c:pt idx="1">
                  <c:v>0.0007265239765461031</c:v>
                </c:pt>
                <c:pt idx="2">
                  <c:v>0.0009852248173185874</c:v>
                </c:pt>
                <c:pt idx="3">
                  <c:v>0.0008997202943141271</c:v>
                </c:pt>
                <c:pt idx="4">
                  <c:v>0.0015631200503892564</c:v>
                </c:pt>
                <c:pt idx="5">
                  <c:v>0.004601542810812763</c:v>
                </c:pt>
                <c:pt idx="6">
                  <c:v>0.007613984065446617</c:v>
                </c:pt>
                <c:pt idx="7">
                  <c:v>0.0024807988954890937</c:v>
                </c:pt>
                <c:pt idx="8">
                  <c:v>0.00100352848984798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2283974907138537</c:v>
                </c:pt>
                <c:pt idx="1">
                  <c:v>0.0012172734612534513</c:v>
                </c:pt>
                <c:pt idx="2">
                  <c:v>0.0027487579044518065</c:v>
                </c:pt>
                <c:pt idx="3">
                  <c:v>0.01335931207346219</c:v>
                </c:pt>
                <c:pt idx="4">
                  <c:v>0.010399295814741064</c:v>
                </c:pt>
                <c:pt idx="5">
                  <c:v>0.010059823595750368</c:v>
                </c:pt>
                <c:pt idx="6">
                  <c:v>0.005646838277871574</c:v>
                </c:pt>
                <c:pt idx="7">
                  <c:v>0.016440487212685942</c:v>
                </c:pt>
                <c:pt idx="8">
                  <c:v>0.013500672267151436</c:v>
                </c:pt>
                <c:pt idx="9">
                  <c:v>0.0015529605370731888</c:v>
                </c:pt>
                <c:pt idx="10">
                  <c:v>0.0007257495503223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01641215212906</c:v>
                </c:pt>
                <c:pt idx="4">
                  <c:v>0.0025501673259900166</c:v>
                </c:pt>
                <c:pt idx="5">
                  <c:v>0.0035556965300212423</c:v>
                </c:pt>
                <c:pt idx="6">
                  <c:v>0.0017860739078562468</c:v>
                </c:pt>
                <c:pt idx="7">
                  <c:v>0.004131796953928287</c:v>
                </c:pt>
                <c:pt idx="8">
                  <c:v>0.001285422371203062</c:v>
                </c:pt>
                <c:pt idx="9">
                  <c:v>0.0011529823757568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119656991224154</c:v>
                </c:pt>
                <c:pt idx="2">
                  <c:v>0.0005498796306097154</c:v>
                </c:pt>
                <c:pt idx="3">
                  <c:v>0.0054790220975229195</c:v>
                </c:pt>
                <c:pt idx="4">
                  <c:v>0.0021480234257978477</c:v>
                </c:pt>
                <c:pt idx="5">
                  <c:v>0.0072435202809828965</c:v>
                </c:pt>
                <c:pt idx="6">
                  <c:v>0.009192403527163818</c:v>
                </c:pt>
                <c:pt idx="7">
                  <c:v>0.023093550474951558</c:v>
                </c:pt>
                <c:pt idx="8">
                  <c:v>0.022894590773574284</c:v>
                </c:pt>
                <c:pt idx="9">
                  <c:v>0.014366914735640354</c:v>
                </c:pt>
                <c:pt idx="10">
                  <c:v>0.0043159950052606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79197057293319</c:v>
                </c:pt>
                <c:pt idx="1">
                  <c:v>0.0022741474994999182</c:v>
                </c:pt>
                <c:pt idx="2">
                  <c:v>0.004968498156167747</c:v>
                </c:pt>
                <c:pt idx="3">
                  <c:v>0.0075320592541419885</c:v>
                </c:pt>
                <c:pt idx="4">
                  <c:v>0.005652867557705702</c:v>
                </c:pt>
                <c:pt idx="5">
                  <c:v>0.01681016789576227</c:v>
                </c:pt>
                <c:pt idx="6">
                  <c:v>0.02246927951057372</c:v>
                </c:pt>
                <c:pt idx="7">
                  <c:v>0.025849711253803524</c:v>
                </c:pt>
                <c:pt idx="8">
                  <c:v>0.026954924877749777</c:v>
                </c:pt>
                <c:pt idx="9">
                  <c:v>0.0319403920716628</c:v>
                </c:pt>
                <c:pt idx="10">
                  <c:v>0.009844459157368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1716314862516555</c:v>
                </c:pt>
                <c:pt idx="1">
                  <c:v>0.003723343665140903</c:v>
                </c:pt>
                <c:pt idx="2">
                  <c:v>0.0015282791169964113</c:v>
                </c:pt>
                <c:pt idx="3">
                  <c:v>0.0033419670121628575</c:v>
                </c:pt>
                <c:pt idx="4">
                  <c:v>0.009027742041112771</c:v>
                </c:pt>
                <c:pt idx="5">
                  <c:v>0.02383385261455253</c:v>
                </c:pt>
                <c:pt idx="6">
                  <c:v>0.021544636407007194</c:v>
                </c:pt>
                <c:pt idx="7">
                  <c:v>0.028005359681065715</c:v>
                </c:pt>
                <c:pt idx="8">
                  <c:v>0.039876469423101024</c:v>
                </c:pt>
                <c:pt idx="9">
                  <c:v>0.025318745089394322</c:v>
                </c:pt>
                <c:pt idx="10">
                  <c:v>0.00103289983154316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77603547950665</c:v>
                </c:pt>
                <c:pt idx="1">
                  <c:v>0.004339956962309663</c:v>
                </c:pt>
                <c:pt idx="2">
                  <c:v>0.003947380042106227</c:v>
                </c:pt>
                <c:pt idx="3">
                  <c:v>0.002780967962045965</c:v>
                </c:pt>
                <c:pt idx="4">
                  <c:v>0.007076811469380697</c:v>
                </c:pt>
                <c:pt idx="5">
                  <c:v>0.009302452787882687</c:v>
                </c:pt>
                <c:pt idx="6">
                  <c:v>0.01905047613364946</c:v>
                </c:pt>
                <c:pt idx="7">
                  <c:v>0.022120395473881775</c:v>
                </c:pt>
                <c:pt idx="8">
                  <c:v>0.022845689337065083</c:v>
                </c:pt>
                <c:pt idx="9">
                  <c:v>0.010997582812470888</c:v>
                </c:pt>
                <c:pt idx="10">
                  <c:v>0.00054734885203651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7298774600845</c:v>
                </c:pt>
                <c:pt idx="1">
                  <c:v>0.009282123388975704</c:v>
                </c:pt>
                <c:pt idx="2">
                  <c:v>0.012147756439842816</c:v>
                </c:pt>
                <c:pt idx="3">
                  <c:v>0.022529095541019496</c:v>
                </c:pt>
                <c:pt idx="4">
                  <c:v>0.02945117135367522</c:v>
                </c:pt>
                <c:pt idx="5">
                  <c:v>0.05852447067245523</c:v>
                </c:pt>
                <c:pt idx="6">
                  <c:v>0.07466676547825057</c:v>
                </c:pt>
                <c:pt idx="7">
                  <c:v>0.10156955028719783</c:v>
                </c:pt>
                <c:pt idx="8">
                  <c:v>0.14641572252133805</c:v>
                </c:pt>
                <c:pt idx="9">
                  <c:v>0.05908469086138316</c:v>
                </c:pt>
                <c:pt idx="10">
                  <c:v>0.046693905555289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26691351108325</c:v>
                </c:pt>
                <c:pt idx="2">
                  <c:v>0.0018550337449188587</c:v>
                </c:pt>
                <c:pt idx="3">
                  <c:v>0.0006410954562026658</c:v>
                </c:pt>
                <c:pt idx="4">
                  <c:v>0.002969714718332409</c:v>
                </c:pt>
                <c:pt idx="5">
                  <c:v>0.0061289177053567056</c:v>
                </c:pt>
                <c:pt idx="6">
                  <c:v>0.004614826137941536</c:v>
                </c:pt>
                <c:pt idx="7">
                  <c:v>0.001197846326217007</c:v>
                </c:pt>
                <c:pt idx="8">
                  <c:v>0.0020921952181179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934679355513318</c:v>
                </c:pt>
                <c:pt idx="1">
                  <c:v>0.0009385705822158571</c:v>
                </c:pt>
                <c:pt idx="2">
                  <c:v>0.002603057185020395</c:v>
                </c:pt>
                <c:pt idx="3">
                  <c:v>0.011130471925289312</c:v>
                </c:pt>
                <c:pt idx="4">
                  <c:v>0.003613119636486283</c:v>
                </c:pt>
                <c:pt idx="5">
                  <c:v>0.0066042102745516845</c:v>
                </c:pt>
                <c:pt idx="6">
                  <c:v>0.0025000050162253718</c:v>
                </c:pt>
                <c:pt idx="7">
                  <c:v>0.012084345547456542</c:v>
                </c:pt>
                <c:pt idx="8">
                  <c:v>0.008193150107511779</c:v>
                </c:pt>
                <c:pt idx="9">
                  <c:v>0.0048500639720784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557090757988714</c:v>
                </c:pt>
                <c:pt idx="3">
                  <c:v>0.004305507235110744</c:v>
                </c:pt>
                <c:pt idx="4">
                  <c:v>0.0024985981994780546</c:v>
                </c:pt>
                <c:pt idx="5">
                  <c:v>0.0018948968970152788</c:v>
                </c:pt>
                <c:pt idx="6">
                  <c:v>0.0005687433273189596</c:v>
                </c:pt>
                <c:pt idx="7">
                  <c:v>0.004927191634479884</c:v>
                </c:pt>
                <c:pt idx="8">
                  <c:v>0.00076289824871891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109149170475194</c:v>
                </c:pt>
                <c:pt idx="4">
                  <c:v>0.0017165317173201884</c:v>
                </c:pt>
                <c:pt idx="5">
                  <c:v>0.006397894914449541</c:v>
                </c:pt>
                <c:pt idx="6">
                  <c:v>0.008701560890749072</c:v>
                </c:pt>
                <c:pt idx="7">
                  <c:v>0.009063320264754158</c:v>
                </c:pt>
                <c:pt idx="8">
                  <c:v>0.02221673712109146</c:v>
                </c:pt>
                <c:pt idx="9">
                  <c:v>0.007315562189238088</c:v>
                </c:pt>
                <c:pt idx="10">
                  <c:v>0.00626597387128065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7947322551197997</c:v>
                </c:pt>
                <c:pt idx="3">
                  <c:v>0.008040658987751186</c:v>
                </c:pt>
                <c:pt idx="4">
                  <c:v>0.00209916810975276</c:v>
                </c:pt>
                <c:pt idx="5">
                  <c:v>0.0071185240040196425</c:v>
                </c:pt>
                <c:pt idx="6">
                  <c:v>0.010727048039131356</c:v>
                </c:pt>
                <c:pt idx="7">
                  <c:v>0.01825966144758874</c:v>
                </c:pt>
                <c:pt idx="8">
                  <c:v>0.012953053467897923</c:v>
                </c:pt>
                <c:pt idx="9">
                  <c:v>0.011640867883270043</c:v>
                </c:pt>
                <c:pt idx="10">
                  <c:v>0.01389800446142231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365743979234998</c:v>
                </c:pt>
                <c:pt idx="1">
                  <c:v>0.0008207979945466326</c:v>
                </c:pt>
                <c:pt idx="2">
                  <c:v>0.0008480397929854662</c:v>
                </c:pt>
                <c:pt idx="3">
                  <c:v>0.0014716035005852386</c:v>
                </c:pt>
                <c:pt idx="4">
                  <c:v>0.00758154576329122</c:v>
                </c:pt>
                <c:pt idx="5">
                  <c:v>0.01834050296410036</c:v>
                </c:pt>
                <c:pt idx="6">
                  <c:v>0.015137883928319145</c:v>
                </c:pt>
                <c:pt idx="7">
                  <c:v>0.01981920023155692</c:v>
                </c:pt>
                <c:pt idx="8">
                  <c:v>0.02372092619221481</c:v>
                </c:pt>
                <c:pt idx="9">
                  <c:v>0.01509524743368631</c:v>
                </c:pt>
                <c:pt idx="10">
                  <c:v>0.00786485023566056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96557217024766</c:v>
                </c:pt>
                <c:pt idx="1">
                  <c:v>0.0006396078131407678</c:v>
                </c:pt>
                <c:pt idx="2">
                  <c:v>0.0011436112810833106</c:v>
                </c:pt>
                <c:pt idx="3">
                  <c:v>0.0008706888321037651</c:v>
                </c:pt>
                <c:pt idx="4">
                  <c:v>0.0036619077570778412</c:v>
                </c:pt>
                <c:pt idx="5">
                  <c:v>0.006439926762086433</c:v>
                </c:pt>
                <c:pt idx="6">
                  <c:v>0.014215378767049546</c:v>
                </c:pt>
                <c:pt idx="7">
                  <c:v>0.01119535175582695</c:v>
                </c:pt>
                <c:pt idx="8">
                  <c:v>0.025811853766293132</c:v>
                </c:pt>
                <c:pt idx="9">
                  <c:v>0.0055737049284121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904758443681435</c:v>
                </c:pt>
                <c:pt idx="3">
                  <c:v>0.0005739407336354372</c:v>
                </c:pt>
                <c:pt idx="4">
                  <c:v>0.0013769773114904352</c:v>
                </c:pt>
                <c:pt idx="5">
                  <c:v>0.003515581763032638</c:v>
                </c:pt>
                <c:pt idx="6">
                  <c:v>0.0027054251293064956</c:v>
                </c:pt>
                <c:pt idx="7">
                  <c:v>0.0030415235974297077</c:v>
                </c:pt>
                <c:pt idx="8">
                  <c:v>0.00145170485925929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90442815721382</c:v>
                </c:pt>
                <c:pt idx="1">
                  <c:v>0.0007279296158724671</c:v>
                </c:pt>
                <c:pt idx="2">
                  <c:v>0.0005917263077863692</c:v>
                </c:pt>
                <c:pt idx="3">
                  <c:v>0.002277705944230476</c:v>
                </c:pt>
                <c:pt idx="4">
                  <c:v>0.008394248166919199</c:v>
                </c:pt>
                <c:pt idx="5">
                  <c:v>0.006818256732142495</c:v>
                </c:pt>
                <c:pt idx="6">
                  <c:v>0.017657193596577147</c:v>
                </c:pt>
                <c:pt idx="7">
                  <c:v>0.02006858834158627</c:v>
                </c:pt>
                <c:pt idx="8">
                  <c:v>0.011604198991597167</c:v>
                </c:pt>
                <c:pt idx="9">
                  <c:v>0.0055342224032446435</c:v>
                </c:pt>
                <c:pt idx="10">
                  <c:v>0.00119412097590656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8073944138045</c:v>
                </c:pt>
                <c:pt idx="2">
                  <c:v>0.0027160350594085643</c:v>
                </c:pt>
                <c:pt idx="3">
                  <c:v>0.006469881044892222</c:v>
                </c:pt>
                <c:pt idx="4">
                  <c:v>0.008819186755177198</c:v>
                </c:pt>
                <c:pt idx="5">
                  <c:v>0.009848981672418367</c:v>
                </c:pt>
                <c:pt idx="6">
                  <c:v>0.005800572027623171</c:v>
                </c:pt>
                <c:pt idx="7">
                  <c:v>0.01807090650071714</c:v>
                </c:pt>
                <c:pt idx="8">
                  <c:v>0.011680889174243385</c:v>
                </c:pt>
                <c:pt idx="9">
                  <c:v>0.0035393514711372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69849793661685</c:v>
                </c:pt>
                <c:pt idx="3">
                  <c:v>0.004719261740870543</c:v>
                </c:pt>
                <c:pt idx="4">
                  <c:v>0.0018414012440139517</c:v>
                </c:pt>
                <c:pt idx="5">
                  <c:v>0.004724903703151538</c:v>
                </c:pt>
                <c:pt idx="6">
                  <c:v>0.012834760439335215</c:v>
                </c:pt>
                <c:pt idx="7">
                  <c:v>0.011374123795497989</c:v>
                </c:pt>
                <c:pt idx="8">
                  <c:v>0.026910666525160835</c:v>
                </c:pt>
                <c:pt idx="9">
                  <c:v>0.012338914910114336</c:v>
                </c:pt>
                <c:pt idx="10">
                  <c:v>0.0097369264435810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7416074561081173</c:v>
                </c:pt>
                <c:pt idx="6">
                  <c:v>0.0009848593715959565</c:v>
                </c:pt>
                <c:pt idx="7">
                  <c:v>0.001967454163133161</c:v>
                </c:pt>
                <c:pt idx="8">
                  <c:v>0.004582235030817382</c:v>
                </c:pt>
                <c:pt idx="9">
                  <c:v>0.00062350712986322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46884843253124</c:v>
                </c:pt>
                <c:pt idx="1">
                  <c:v>0.001694367418354392</c:v>
                </c:pt>
                <c:pt idx="2">
                  <c:v>0.002269493959508868</c:v>
                </c:pt>
                <c:pt idx="3">
                  <c:v>0.006171832852254268</c:v>
                </c:pt>
                <c:pt idx="4">
                  <c:v>0.008240711645542778</c:v>
                </c:pt>
                <c:pt idx="5">
                  <c:v>0.009273264063648444</c:v>
                </c:pt>
                <c:pt idx="6">
                  <c:v>0.014397760861240822</c:v>
                </c:pt>
                <c:pt idx="7">
                  <c:v>0.02850117635299457</c:v>
                </c:pt>
                <c:pt idx="8">
                  <c:v>0.024787881079015667</c:v>
                </c:pt>
                <c:pt idx="9">
                  <c:v>0.0069353965086264195</c:v>
                </c:pt>
                <c:pt idx="10">
                  <c:v>0.03313138163395850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1450330971552816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354236471197323</c:v>
                </c:pt>
                <c:pt idx="1">
                  <c:v>0.0028481256152342576</c:v>
                </c:pt>
                <c:pt idx="2">
                  <c:v>0.0016651367772222779</c:v>
                </c:pt>
                <c:pt idx="3">
                  <c:v>0.002012730071109271</c:v>
                </c:pt>
                <c:pt idx="4">
                  <c:v>0.0034941084931523277</c:v>
                </c:pt>
                <c:pt idx="5">
                  <c:v>0.02344434438430792</c:v>
                </c:pt>
                <c:pt idx="6">
                  <c:v>0.020397160059468525</c:v>
                </c:pt>
                <c:pt idx="7">
                  <c:v>0.02262213858798551</c:v>
                </c:pt>
                <c:pt idx="8">
                  <c:v>0.04228425815193435</c:v>
                </c:pt>
                <c:pt idx="9">
                  <c:v>0.028330681580832563</c:v>
                </c:pt>
                <c:pt idx="10">
                  <c:v>0.00328527755139362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751604880914043</c:v>
                </c:pt>
                <c:pt idx="1">
                  <c:v>0.004336402494011551</c:v>
                </c:pt>
                <c:pt idx="2">
                  <c:v>0.0070251213191869</c:v>
                </c:pt>
                <c:pt idx="3">
                  <c:v>0.027207169431444304</c:v>
                </c:pt>
                <c:pt idx="4">
                  <c:v>0.02013533255957086</c:v>
                </c:pt>
                <c:pt idx="5">
                  <c:v>0.048441251449156245</c:v>
                </c:pt>
                <c:pt idx="6">
                  <c:v>0.05398730177078099</c:v>
                </c:pt>
                <c:pt idx="7">
                  <c:v>0.07346340284461302</c:v>
                </c:pt>
                <c:pt idx="8">
                  <c:v>0.0943474255142684</c:v>
                </c:pt>
                <c:pt idx="9">
                  <c:v>0.04490236910611779</c:v>
                </c:pt>
                <c:pt idx="10">
                  <c:v>0.0280486774737438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5343562744646175</c:v>
                </c:pt>
                <c:pt idx="1">
                  <c:v>0.002260718116854605</c:v>
                </c:pt>
                <c:pt idx="2">
                  <c:v>0.004309753889157988</c:v>
                </c:pt>
                <c:pt idx="3">
                  <c:v>0.002255669537579064</c:v>
                </c:pt>
                <c:pt idx="4">
                  <c:v>0.005471276746423338</c:v>
                </c:pt>
                <c:pt idx="5">
                  <c:v>0.006631434038116196</c:v>
                </c:pt>
                <c:pt idx="6">
                  <c:v>0.01362252802513622</c:v>
                </c:pt>
                <c:pt idx="7">
                  <c:v>0.01852040615451353</c:v>
                </c:pt>
                <c:pt idx="8">
                  <c:v>0.03974849910113582</c:v>
                </c:pt>
                <c:pt idx="9">
                  <c:v>0.00745210151504510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5640238250601</c:v>
                </c:pt>
                <c:pt idx="1">
                  <c:v>0.0007265239765461031</c:v>
                </c:pt>
                <c:pt idx="2">
                  <c:v>0.0009852248173185874</c:v>
                </c:pt>
                <c:pt idx="3">
                  <c:v>0.0008997202943141271</c:v>
                </c:pt>
                <c:pt idx="4">
                  <c:v>0.0015631200503892564</c:v>
                </c:pt>
                <c:pt idx="5">
                  <c:v>0.004601542810812763</c:v>
                </c:pt>
                <c:pt idx="6">
                  <c:v>0.007613984065446617</c:v>
                </c:pt>
                <c:pt idx="7">
                  <c:v>0.0024807988954890937</c:v>
                </c:pt>
                <c:pt idx="8">
                  <c:v>0.00100352848984798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341393663748654</c:v>
                </c:pt>
                <c:pt idx="1">
                  <c:v>0.0008164207943921507</c:v>
                </c:pt>
                <c:pt idx="2">
                  <c:v>0.0011358723236137916</c:v>
                </c:pt>
                <c:pt idx="3">
                  <c:v>0.001863379440483044</c:v>
                </c:pt>
                <c:pt idx="4">
                  <c:v>0.006108898879662129</c:v>
                </c:pt>
                <c:pt idx="5">
                  <c:v>0.00534250401584362</c:v>
                </c:pt>
                <c:pt idx="6">
                  <c:v>0.011709217842335341</c:v>
                </c:pt>
                <c:pt idx="7">
                  <c:v>0.016091999132285983</c:v>
                </c:pt>
                <c:pt idx="8">
                  <c:v>0.006340546960868801</c:v>
                </c:pt>
                <c:pt idx="9">
                  <c:v>0.001299069629640437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9385705822158571</c:v>
                </c:pt>
                <c:pt idx="2">
                  <c:v>0.00167359112290561</c:v>
                </c:pt>
                <c:pt idx="5">
                  <c:v>0.002027699687448518</c:v>
                </c:pt>
                <c:pt idx="6">
                  <c:v>0.0015574917945494827</c:v>
                </c:pt>
                <c:pt idx="7">
                  <c:v>0.0026119712875011234</c:v>
                </c:pt>
                <c:pt idx="8">
                  <c:v>0.00336048305869494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2283974907138537</c:v>
                </c:pt>
                <c:pt idx="1">
                  <c:v>0.0012172734612534513</c:v>
                </c:pt>
                <c:pt idx="2">
                  <c:v>0.0027487579044518065</c:v>
                </c:pt>
                <c:pt idx="3">
                  <c:v>0.01335931207346219</c:v>
                </c:pt>
                <c:pt idx="4">
                  <c:v>0.010399295814741064</c:v>
                </c:pt>
                <c:pt idx="5">
                  <c:v>0.010059823595750368</c:v>
                </c:pt>
                <c:pt idx="6">
                  <c:v>0.005646838277871574</c:v>
                </c:pt>
                <c:pt idx="7">
                  <c:v>0.016440487212685942</c:v>
                </c:pt>
                <c:pt idx="8">
                  <c:v>0.013500672267151436</c:v>
                </c:pt>
                <c:pt idx="9">
                  <c:v>0.0015529605370731888</c:v>
                </c:pt>
                <c:pt idx="10">
                  <c:v>0.0007257495503223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119656991224154</c:v>
                </c:pt>
                <c:pt idx="2">
                  <c:v>0.0005498796306097154</c:v>
                </c:pt>
                <c:pt idx="3">
                  <c:v>0.0054790220975229195</c:v>
                </c:pt>
                <c:pt idx="4">
                  <c:v>0.0021480234257978477</c:v>
                </c:pt>
                <c:pt idx="5">
                  <c:v>0.0072435202809828965</c:v>
                </c:pt>
                <c:pt idx="6">
                  <c:v>0.009192403527163818</c:v>
                </c:pt>
                <c:pt idx="7">
                  <c:v>0.023093550474951558</c:v>
                </c:pt>
                <c:pt idx="8">
                  <c:v>0.022894590773574284</c:v>
                </c:pt>
                <c:pt idx="9">
                  <c:v>0.014366914735640354</c:v>
                </c:pt>
                <c:pt idx="10">
                  <c:v>0.0043159950052606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15172813773883657</c:v>
                </c:pt>
                <c:pt idx="7">
                  <c:v>0.003838889754054749</c:v>
                </c:pt>
                <c:pt idx="8">
                  <c:v>0.0032672931197027925</c:v>
                </c:pt>
                <c:pt idx="9">
                  <c:v>0.000821857887832700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79197057293319</c:v>
                </c:pt>
                <c:pt idx="1">
                  <c:v>0.0022741474994999182</c:v>
                </c:pt>
                <c:pt idx="2">
                  <c:v>0.004968498156167747</c:v>
                </c:pt>
                <c:pt idx="3">
                  <c:v>0.0075320592541419885</c:v>
                </c:pt>
                <c:pt idx="4">
                  <c:v>0.005652867557705702</c:v>
                </c:pt>
                <c:pt idx="5">
                  <c:v>0.01681016789576227</c:v>
                </c:pt>
                <c:pt idx="6">
                  <c:v>0.02246927951057372</c:v>
                </c:pt>
                <c:pt idx="7">
                  <c:v>0.025849711253803524</c:v>
                </c:pt>
                <c:pt idx="8">
                  <c:v>0.026954924877749777</c:v>
                </c:pt>
                <c:pt idx="9">
                  <c:v>0.0319403920716628</c:v>
                </c:pt>
                <c:pt idx="10">
                  <c:v>0.009844459157368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27904747899661</c:v>
                </c:pt>
                <c:pt idx="4">
                  <c:v>0.0066235142160708076</c:v>
                </c:pt>
                <c:pt idx="5">
                  <c:v>0.0026309427086981525</c:v>
                </c:pt>
                <c:pt idx="6">
                  <c:v>0.0008079767782813096</c:v>
                </c:pt>
                <c:pt idx="7">
                  <c:v>0.00445682956014945</c:v>
                </c:pt>
                <c:pt idx="8">
                  <c:v>0.00520994830093398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828777492955622</c:v>
                </c:pt>
                <c:pt idx="8">
                  <c:v>0.00202775632012643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1716314862516555</c:v>
                </c:pt>
                <c:pt idx="1">
                  <c:v>0.003723343665140903</c:v>
                </c:pt>
                <c:pt idx="2">
                  <c:v>0.0015282791169964113</c:v>
                </c:pt>
                <c:pt idx="3">
                  <c:v>0.0033419670121628575</c:v>
                </c:pt>
                <c:pt idx="4">
                  <c:v>0.009027742041112771</c:v>
                </c:pt>
                <c:pt idx="5">
                  <c:v>0.02383385261455253</c:v>
                </c:pt>
                <c:pt idx="6">
                  <c:v>0.021544636407007194</c:v>
                </c:pt>
                <c:pt idx="7">
                  <c:v>0.028005359681065715</c:v>
                </c:pt>
                <c:pt idx="8">
                  <c:v>0.039876469423101024</c:v>
                </c:pt>
                <c:pt idx="9">
                  <c:v>0.025318745089394322</c:v>
                </c:pt>
                <c:pt idx="10">
                  <c:v>0.00103289983154316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77603547950665</c:v>
                </c:pt>
                <c:pt idx="1">
                  <c:v>0.004339956962309663</c:v>
                </c:pt>
                <c:pt idx="2">
                  <c:v>0.003947380042106227</c:v>
                </c:pt>
                <c:pt idx="3">
                  <c:v>0.002780967962045965</c:v>
                </c:pt>
                <c:pt idx="4">
                  <c:v>0.007076811469380697</c:v>
                </c:pt>
                <c:pt idx="5">
                  <c:v>0.009302452787882687</c:v>
                </c:pt>
                <c:pt idx="6">
                  <c:v>0.01905047613364946</c:v>
                </c:pt>
                <c:pt idx="7">
                  <c:v>0.022120395473881775</c:v>
                </c:pt>
                <c:pt idx="8">
                  <c:v>0.022845689337065083</c:v>
                </c:pt>
                <c:pt idx="9">
                  <c:v>0.010997582812470888</c:v>
                </c:pt>
                <c:pt idx="10">
                  <c:v>0.00054734885203651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26691351108325</c:v>
                </c:pt>
                <c:pt idx="2">
                  <c:v>0.0018550337449188587</c:v>
                </c:pt>
                <c:pt idx="3">
                  <c:v>0.0006410954562026658</c:v>
                </c:pt>
                <c:pt idx="4">
                  <c:v>0.002969714718332409</c:v>
                </c:pt>
                <c:pt idx="5">
                  <c:v>0.0061289177053567056</c:v>
                </c:pt>
                <c:pt idx="6">
                  <c:v>0.004614826137941536</c:v>
                </c:pt>
                <c:pt idx="7">
                  <c:v>0.001197846326217007</c:v>
                </c:pt>
                <c:pt idx="8">
                  <c:v>0.0020921952181179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934679355513318</c:v>
                </c:pt>
                <c:pt idx="1">
                  <c:v>0.0009385705822158571</c:v>
                </c:pt>
                <c:pt idx="2">
                  <c:v>0.002603057185020395</c:v>
                </c:pt>
                <c:pt idx="3">
                  <c:v>0.011130471925289312</c:v>
                </c:pt>
                <c:pt idx="4">
                  <c:v>0.003613119636486283</c:v>
                </c:pt>
                <c:pt idx="5">
                  <c:v>0.0066042102745516845</c:v>
                </c:pt>
                <c:pt idx="6">
                  <c:v>0.0025000050162253718</c:v>
                </c:pt>
                <c:pt idx="7">
                  <c:v>0.012084345547456542</c:v>
                </c:pt>
                <c:pt idx="8">
                  <c:v>0.008193150107511779</c:v>
                </c:pt>
                <c:pt idx="9">
                  <c:v>0.00485006397207847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109149170475194</c:v>
                </c:pt>
                <c:pt idx="4">
                  <c:v>0.0017165317173201884</c:v>
                </c:pt>
                <c:pt idx="5">
                  <c:v>0.006397894914449541</c:v>
                </c:pt>
                <c:pt idx="6">
                  <c:v>0.008701560890749072</c:v>
                </c:pt>
                <c:pt idx="7">
                  <c:v>0.009063320264754158</c:v>
                </c:pt>
                <c:pt idx="8">
                  <c:v>0.02221673712109146</c:v>
                </c:pt>
                <c:pt idx="9">
                  <c:v>0.007315562189238088</c:v>
                </c:pt>
                <c:pt idx="10">
                  <c:v>0.006265973871280655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9717039586692132</c:v>
                </c:pt>
                <c:pt idx="6">
                  <c:v>0.001933192864623184</c:v>
                </c:pt>
                <c:pt idx="7">
                  <c:v>0.004490808447678215</c:v>
                </c:pt>
                <c:pt idx="8">
                  <c:v>0.005547642582397839</c:v>
                </c:pt>
                <c:pt idx="9">
                  <c:v>0.006081643930679642</c:v>
                </c:pt>
                <c:pt idx="10">
                  <c:v>0.00516121560039610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802984488688644</c:v>
                </c:pt>
                <c:pt idx="6">
                  <c:v>0.0011652471279381374</c:v>
                </c:pt>
                <c:pt idx="7">
                  <c:v>0.0011011538358546796</c:v>
                </c:pt>
                <c:pt idx="8">
                  <c:v>0.005567090047645729</c:v>
                </c:pt>
                <c:pt idx="9">
                  <c:v>0.00076960407521445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7947322551197997</c:v>
                </c:pt>
                <c:pt idx="3">
                  <c:v>0.008040658987751186</c:v>
                </c:pt>
                <c:pt idx="4">
                  <c:v>0.00209916810975276</c:v>
                </c:pt>
                <c:pt idx="5">
                  <c:v>0.0071185240040196425</c:v>
                </c:pt>
                <c:pt idx="6">
                  <c:v>0.010727048039131356</c:v>
                </c:pt>
                <c:pt idx="7">
                  <c:v>0.01825966144758874</c:v>
                </c:pt>
                <c:pt idx="8">
                  <c:v>0.012953053467897923</c:v>
                </c:pt>
                <c:pt idx="9">
                  <c:v>0.011640867883270043</c:v>
                </c:pt>
                <c:pt idx="10">
                  <c:v>0.01389800446142231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1119261272625073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365743979234998</c:v>
                </c:pt>
                <c:pt idx="1">
                  <c:v>0.0008207979945466326</c:v>
                </c:pt>
                <c:pt idx="2">
                  <c:v>0.0008480397929854662</c:v>
                </c:pt>
                <c:pt idx="3">
                  <c:v>0.0014716035005852386</c:v>
                </c:pt>
                <c:pt idx="4">
                  <c:v>0.00758154576329122</c:v>
                </c:pt>
                <c:pt idx="5">
                  <c:v>0.01834050296410036</c:v>
                </c:pt>
                <c:pt idx="6">
                  <c:v>0.015137883928319145</c:v>
                </c:pt>
                <c:pt idx="7">
                  <c:v>0.01981920023155692</c:v>
                </c:pt>
                <c:pt idx="8">
                  <c:v>0.02372092619221481</c:v>
                </c:pt>
                <c:pt idx="9">
                  <c:v>0.01509524743368631</c:v>
                </c:pt>
                <c:pt idx="10">
                  <c:v>0.00786485023566056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96557217024766</c:v>
                </c:pt>
                <c:pt idx="1">
                  <c:v>0.0006396078131407678</c:v>
                </c:pt>
                <c:pt idx="2">
                  <c:v>0.0011436112810833106</c:v>
                </c:pt>
                <c:pt idx="3">
                  <c:v>0.0008706888321037651</c:v>
                </c:pt>
                <c:pt idx="4">
                  <c:v>0.0036619077570778412</c:v>
                </c:pt>
                <c:pt idx="5">
                  <c:v>0.006439926762086433</c:v>
                </c:pt>
                <c:pt idx="6">
                  <c:v>0.014215378767049546</c:v>
                </c:pt>
                <c:pt idx="7">
                  <c:v>0.01119535175582695</c:v>
                </c:pt>
                <c:pt idx="8">
                  <c:v>0.025811853766293132</c:v>
                </c:pt>
                <c:pt idx="9">
                  <c:v>0.0055737049284121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904758443681435</c:v>
                </c:pt>
                <c:pt idx="3">
                  <c:v>0.0005739407336354372</c:v>
                </c:pt>
                <c:pt idx="4">
                  <c:v>0.0013769773114904352</c:v>
                </c:pt>
                <c:pt idx="5">
                  <c:v>0.003515581763032638</c:v>
                </c:pt>
                <c:pt idx="6">
                  <c:v>0.0027054251293064956</c:v>
                </c:pt>
                <c:pt idx="7">
                  <c:v>0.0030415235974297077</c:v>
                </c:pt>
                <c:pt idx="8">
                  <c:v>0.001451704859259295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90442815721382</c:v>
                </c:pt>
                <c:pt idx="1">
                  <c:v>0.0007279296158724671</c:v>
                </c:pt>
                <c:pt idx="2">
                  <c:v>0.0005917263077863692</c:v>
                </c:pt>
                <c:pt idx="3">
                  <c:v>0.002277705944230476</c:v>
                </c:pt>
                <c:pt idx="4">
                  <c:v>0.008394248166919199</c:v>
                </c:pt>
                <c:pt idx="5">
                  <c:v>0.006818256732142495</c:v>
                </c:pt>
                <c:pt idx="6">
                  <c:v>0.017657193596577147</c:v>
                </c:pt>
                <c:pt idx="7">
                  <c:v>0.02006858834158627</c:v>
                </c:pt>
                <c:pt idx="8">
                  <c:v>0.011604198991597167</c:v>
                </c:pt>
                <c:pt idx="9">
                  <c:v>0.0055342224032446435</c:v>
                </c:pt>
                <c:pt idx="10">
                  <c:v>0.001194120975906560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595050014481613</c:v>
                </c:pt>
                <c:pt idx="3">
                  <c:v>0.0006233384922911094</c:v>
                </c:pt>
                <c:pt idx="5">
                  <c:v>0.0017076344744566142</c:v>
                </c:pt>
                <c:pt idx="6">
                  <c:v>0.0013050492529639898</c:v>
                </c:pt>
                <c:pt idx="7">
                  <c:v>0.00373760751220693</c:v>
                </c:pt>
                <c:pt idx="8">
                  <c:v>0.0044008842953461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7298774600845</c:v>
                </c:pt>
                <c:pt idx="1">
                  <c:v>0.009282123388975704</c:v>
                </c:pt>
                <c:pt idx="2">
                  <c:v>0.012147756439842816</c:v>
                </c:pt>
                <c:pt idx="3">
                  <c:v>0.022529095541019496</c:v>
                </c:pt>
                <c:pt idx="4">
                  <c:v>0.02945117135367522</c:v>
                </c:pt>
                <c:pt idx="5">
                  <c:v>0.05852447067245523</c:v>
                </c:pt>
                <c:pt idx="6">
                  <c:v>0.07466676547825057</c:v>
                </c:pt>
                <c:pt idx="7">
                  <c:v>0.10156955028719783</c:v>
                </c:pt>
                <c:pt idx="8">
                  <c:v>0.14641572252133805</c:v>
                </c:pt>
                <c:pt idx="9">
                  <c:v>0.05908469086138316</c:v>
                </c:pt>
                <c:pt idx="10">
                  <c:v>0.046693905555289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7158776338552915</c:v>
                </c:pt>
                <c:pt idx="4">
                  <c:v>0.0009567560681312612</c:v>
                </c:pt>
                <c:pt idx="5">
                  <c:v>0.004289910868172863</c:v>
                </c:pt>
                <c:pt idx="6">
                  <c:v>0.0016156336102589046</c:v>
                </c:pt>
                <c:pt idx="7">
                  <c:v>0.004109636017257831</c:v>
                </c:pt>
                <c:pt idx="8">
                  <c:v>0.001715637105481614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470452338948385</c:v>
                </c:pt>
                <c:pt idx="3">
                  <c:v>0.004025278770001397</c:v>
                </c:pt>
                <c:pt idx="4">
                  <c:v>0.00961376917693007</c:v>
                </c:pt>
                <c:pt idx="5">
                  <c:v>0.0025014971958159204</c:v>
                </c:pt>
                <c:pt idx="6">
                  <c:v>0.0006715239450754508</c:v>
                </c:pt>
                <c:pt idx="7">
                  <c:v>0.003470515312153975</c:v>
                </c:pt>
                <c:pt idx="8">
                  <c:v>0.00598698330521827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272343711042418</c:v>
                </c:pt>
                <c:pt idx="6">
                  <c:v>0.0006238757914053047</c:v>
                </c:pt>
                <c:pt idx="7">
                  <c:v>0.0029857036453744272</c:v>
                </c:pt>
                <c:pt idx="8">
                  <c:v>0.0039253160513693505</c:v>
                </c:pt>
                <c:pt idx="9">
                  <c:v>0.003865218174269138</c:v>
                </c:pt>
                <c:pt idx="10">
                  <c:v>0.00547581491083531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470452338948385</c:v>
                </c:pt>
                <c:pt idx="3">
                  <c:v>0.004025278770001397</c:v>
                </c:pt>
                <c:pt idx="4">
                  <c:v>0.00961376917693007</c:v>
                </c:pt>
                <c:pt idx="5">
                  <c:v>0.0025014971958159204</c:v>
                </c:pt>
                <c:pt idx="6">
                  <c:v>0.0006715239450754508</c:v>
                </c:pt>
                <c:pt idx="7">
                  <c:v>0.003470515312153975</c:v>
                </c:pt>
                <c:pt idx="8">
                  <c:v>0.00598698330521827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9">
                  <c:v>0.000643755987263306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783334382924543</c:v>
                </c:pt>
                <c:pt idx="1">
                  <c:v>0.013830067103891943</c:v>
                </c:pt>
                <c:pt idx="2">
                  <c:v>0.015597828595250766</c:v>
                </c:pt>
                <c:pt idx="3">
                  <c:v>0.03313442385553859</c:v>
                </c:pt>
                <c:pt idx="4">
                  <c:v>0.03727445502707049</c:v>
                </c:pt>
                <c:pt idx="5">
                  <c:v>0.07337873488028746</c:v>
                </c:pt>
                <c:pt idx="6">
                  <c:v>0.0825184599942073</c:v>
                </c:pt>
                <c:pt idx="7">
                  <c:v>0.11670735042260552</c:v>
                </c:pt>
                <c:pt idx="8">
                  <c:v>0.12816454189675958</c:v>
                </c:pt>
                <c:pt idx="9">
                  <c:v>0.08445714009502081</c:v>
                </c:pt>
                <c:pt idx="10">
                  <c:v>0.016466452396530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01641215212906</c:v>
                </c:pt>
                <c:pt idx="4">
                  <c:v>0.0025501673259900166</c:v>
                </c:pt>
                <c:pt idx="5">
                  <c:v>0.0035556965300212423</c:v>
                </c:pt>
                <c:pt idx="6">
                  <c:v>0.0017860739078562468</c:v>
                </c:pt>
                <c:pt idx="7">
                  <c:v>0.004131796953928287</c:v>
                </c:pt>
                <c:pt idx="8">
                  <c:v>0.001285422371203062</c:v>
                </c:pt>
                <c:pt idx="9">
                  <c:v>0.0011529823757568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64570047281746</c:v>
                </c:pt>
                <c:pt idx="2">
                  <c:v>0.0010332714043895027</c:v>
                </c:pt>
                <c:pt idx="3">
                  <c:v>0.004467573043902422</c:v>
                </c:pt>
                <c:pt idx="4">
                  <c:v>0.010237677142811912</c:v>
                </c:pt>
                <c:pt idx="5">
                  <c:v>0.0025253225771895735</c:v>
                </c:pt>
                <c:pt idx="6">
                  <c:v>0.0030446009381332397</c:v>
                </c:pt>
                <c:pt idx="7">
                  <c:v>0.0035131706302403433</c:v>
                </c:pt>
                <c:pt idx="8">
                  <c:v>0.0056045206222133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293431378912836</c:v>
                </c:pt>
                <c:pt idx="7">
                  <c:v>0.0019159741416494734</c:v>
                </c:pt>
                <c:pt idx="8">
                  <c:v>0.0015971254405960753</c:v>
                </c:pt>
                <c:pt idx="9">
                  <c:v>0.006878089411296356</c:v>
                </c:pt>
                <c:pt idx="10">
                  <c:v>0.0023498234136796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9">
                  <c:v>0.001282859743528743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751604880914043</c:v>
                </c:pt>
                <c:pt idx="1">
                  <c:v>0.004336402494011551</c:v>
                </c:pt>
                <c:pt idx="2">
                  <c:v>0.0070251213191869</c:v>
                </c:pt>
                <c:pt idx="3">
                  <c:v>0.027207169431444304</c:v>
                </c:pt>
                <c:pt idx="4">
                  <c:v>0.02013533255957086</c:v>
                </c:pt>
                <c:pt idx="5">
                  <c:v>0.048441251449156245</c:v>
                </c:pt>
                <c:pt idx="6">
                  <c:v>0.05398730177078099</c:v>
                </c:pt>
                <c:pt idx="7">
                  <c:v>0.07346340284461302</c:v>
                </c:pt>
                <c:pt idx="8">
                  <c:v>0.0943474255142684</c:v>
                </c:pt>
                <c:pt idx="9">
                  <c:v>0.04490236910611779</c:v>
                </c:pt>
                <c:pt idx="10">
                  <c:v>0.0280486774737438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557090757988714</c:v>
                </c:pt>
                <c:pt idx="3">
                  <c:v>0.004305507235110744</c:v>
                </c:pt>
                <c:pt idx="4">
                  <c:v>0.0024985981994780546</c:v>
                </c:pt>
                <c:pt idx="5">
                  <c:v>0.0018948968970152788</c:v>
                </c:pt>
                <c:pt idx="6">
                  <c:v>0.0005687433273189596</c:v>
                </c:pt>
                <c:pt idx="7">
                  <c:v>0.004927191634479884</c:v>
                </c:pt>
                <c:pt idx="8">
                  <c:v>0.00076289824871891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27904747899661</c:v>
                </c:pt>
                <c:pt idx="4">
                  <c:v>0.0066235142160708076</c:v>
                </c:pt>
                <c:pt idx="5">
                  <c:v>0.0026309427086981525</c:v>
                </c:pt>
                <c:pt idx="6">
                  <c:v>0.0008079767782813096</c:v>
                </c:pt>
                <c:pt idx="7">
                  <c:v>0.00445682956014945</c:v>
                </c:pt>
                <c:pt idx="8">
                  <c:v>0.00520994830093398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272343711042418</c:v>
                </c:pt>
                <c:pt idx="6">
                  <c:v>0.0006238757914053047</c:v>
                </c:pt>
                <c:pt idx="7">
                  <c:v>0.0029857036453744272</c:v>
                </c:pt>
                <c:pt idx="8">
                  <c:v>0.0039253160513693505</c:v>
                </c:pt>
                <c:pt idx="9">
                  <c:v>0.003865218174269138</c:v>
                </c:pt>
                <c:pt idx="10">
                  <c:v>0.00547581491083531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9717039586692132</c:v>
                </c:pt>
                <c:pt idx="6">
                  <c:v>0.001933192864623184</c:v>
                </c:pt>
                <c:pt idx="7">
                  <c:v>0.004490808447678215</c:v>
                </c:pt>
                <c:pt idx="8">
                  <c:v>0.005547642582397839</c:v>
                </c:pt>
                <c:pt idx="9">
                  <c:v>0.006081643930679642</c:v>
                </c:pt>
                <c:pt idx="10">
                  <c:v>0.00516121560039610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790100115739</c:v>
                </c:pt>
                <c:pt idx="1">
                  <c:v>0.016357704156459724</c:v>
                </c:pt>
                <c:pt idx="2">
                  <c:v>0.028302490935711525</c:v>
                </c:pt>
                <c:pt idx="3">
                  <c:v>0.042301193686235694</c:v>
                </c:pt>
                <c:pt idx="4">
                  <c:v>0.08700597572922346</c:v>
                </c:pt>
                <c:pt idx="5">
                  <c:v>0.09608665800091051</c:v>
                </c:pt>
                <c:pt idx="6">
                  <c:v>0.1148156455495932</c:v>
                </c:pt>
                <c:pt idx="7">
                  <c:v>0.1644429841777056</c:v>
                </c:pt>
                <c:pt idx="8">
                  <c:v>0.21200850054947143</c:v>
                </c:pt>
                <c:pt idx="9">
                  <c:v>0.11609744764373196</c:v>
                </c:pt>
                <c:pt idx="10">
                  <c:v>0.0605034985697994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7298774600845</c:v>
                </c:pt>
                <c:pt idx="1">
                  <c:v>0.009282123388975704</c:v>
                </c:pt>
                <c:pt idx="2">
                  <c:v>0.012147756439842816</c:v>
                </c:pt>
                <c:pt idx="3">
                  <c:v>0.022529095541019496</c:v>
                </c:pt>
                <c:pt idx="4">
                  <c:v>0.02945117135367522</c:v>
                </c:pt>
                <c:pt idx="5">
                  <c:v>0.05852447067245523</c:v>
                </c:pt>
                <c:pt idx="6">
                  <c:v>0.07466676547825057</c:v>
                </c:pt>
                <c:pt idx="7">
                  <c:v>0.10156955028719783</c:v>
                </c:pt>
                <c:pt idx="8">
                  <c:v>0.14641572252133805</c:v>
                </c:pt>
                <c:pt idx="9">
                  <c:v>0.05908469086138316</c:v>
                </c:pt>
                <c:pt idx="10">
                  <c:v>0.0466939055552897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7416074561081173</c:v>
                </c:pt>
                <c:pt idx="6">
                  <c:v>0.0009848593715959565</c:v>
                </c:pt>
                <c:pt idx="7">
                  <c:v>0.0020440225670418245</c:v>
                </c:pt>
                <c:pt idx="8">
                  <c:v>0.006032566002370198</c:v>
                </c:pt>
                <c:pt idx="9">
                  <c:v>0.00062350712986322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470452338948385</c:v>
                </c:pt>
                <c:pt idx="3">
                  <c:v>0.004025278770001397</c:v>
                </c:pt>
                <c:pt idx="4">
                  <c:v>0.00961376917693007</c:v>
                </c:pt>
                <c:pt idx="5">
                  <c:v>0.0025014971958159204</c:v>
                </c:pt>
                <c:pt idx="6">
                  <c:v>0.0006715239450754508</c:v>
                </c:pt>
                <c:pt idx="7">
                  <c:v>0.003470515312153975</c:v>
                </c:pt>
                <c:pt idx="8">
                  <c:v>0.00598698330521827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28565460995483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272343711042418</c:v>
                </c:pt>
                <c:pt idx="6">
                  <c:v>0.0006238757914053047</c:v>
                </c:pt>
                <c:pt idx="7">
                  <c:v>0.0029857036453744272</c:v>
                </c:pt>
                <c:pt idx="8">
                  <c:v>0.0039253160513693505</c:v>
                </c:pt>
                <c:pt idx="9">
                  <c:v>0.003865218174269138</c:v>
                </c:pt>
                <c:pt idx="10">
                  <c:v>0.00547581491083531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783334382924543</c:v>
                </c:pt>
                <c:pt idx="1">
                  <c:v>0.013830067103891943</c:v>
                </c:pt>
                <c:pt idx="2">
                  <c:v>0.015597828595250766</c:v>
                </c:pt>
                <c:pt idx="3">
                  <c:v>0.03313442385553859</c:v>
                </c:pt>
                <c:pt idx="4">
                  <c:v>0.03727445502707049</c:v>
                </c:pt>
                <c:pt idx="5">
                  <c:v>0.07337873488028746</c:v>
                </c:pt>
                <c:pt idx="6">
                  <c:v>0.0825184599942073</c:v>
                </c:pt>
                <c:pt idx="7">
                  <c:v>0.11670735042260552</c:v>
                </c:pt>
                <c:pt idx="8">
                  <c:v>0.12816454189675958</c:v>
                </c:pt>
                <c:pt idx="9">
                  <c:v>0.08445714009502081</c:v>
                </c:pt>
                <c:pt idx="10">
                  <c:v>0.016466452396530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15172813773883657</c:v>
                </c:pt>
                <c:pt idx="7">
                  <c:v>0.004421767503350311</c:v>
                </c:pt>
                <c:pt idx="8">
                  <c:v>0.005295049439829231</c:v>
                </c:pt>
                <c:pt idx="9">
                  <c:v>0.000821857887832700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64570047281746</c:v>
                </c:pt>
                <c:pt idx="2">
                  <c:v>0.0010332714043895027</c:v>
                </c:pt>
                <c:pt idx="3">
                  <c:v>0.004467573043902422</c:v>
                </c:pt>
                <c:pt idx="4">
                  <c:v>0.010237677142811912</c:v>
                </c:pt>
                <c:pt idx="5">
                  <c:v>0.0025253225771895735</c:v>
                </c:pt>
                <c:pt idx="6">
                  <c:v>0.0030446009381332397</c:v>
                </c:pt>
                <c:pt idx="7">
                  <c:v>0.0035131706302403433</c:v>
                </c:pt>
                <c:pt idx="8">
                  <c:v>0.0056045206222133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165160373637483</c:v>
                </c:pt>
                <c:pt idx="6">
                  <c:v>0.000904853378763544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293431378912836</c:v>
                </c:pt>
                <c:pt idx="7">
                  <c:v>0.0019159741416494734</c:v>
                </c:pt>
                <c:pt idx="8">
                  <c:v>0.0015971254405960753</c:v>
                </c:pt>
                <c:pt idx="9">
                  <c:v>0.006878089411296356</c:v>
                </c:pt>
                <c:pt idx="10">
                  <c:v>0.0023498234136796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974831059356</c:v>
                </c:pt>
                <c:pt idx="1">
                  <c:v>0.015471007476381238</c:v>
                </c:pt>
                <c:pt idx="2">
                  <c:v>0.028116529382288594</c:v>
                </c:pt>
                <c:pt idx="3">
                  <c:v>0.060924029525371806</c:v>
                </c:pt>
                <c:pt idx="4">
                  <c:v>0.09318742552859235</c:v>
                </c:pt>
                <c:pt idx="5">
                  <c:v>0.09328965350171722</c:v>
                </c:pt>
                <c:pt idx="6">
                  <c:v>0.10624332582688127</c:v>
                </c:pt>
                <c:pt idx="7">
                  <c:v>0.17288833054716354</c:v>
                </c:pt>
                <c:pt idx="8">
                  <c:v>0.17090235363397563</c:v>
                </c:pt>
                <c:pt idx="9">
                  <c:v>0.13659252312310793</c:v>
                </c:pt>
                <c:pt idx="10">
                  <c:v>0.0582150731439268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751604880914043</c:v>
                </c:pt>
                <c:pt idx="1">
                  <c:v>0.004336402494011551</c:v>
                </c:pt>
                <c:pt idx="2">
                  <c:v>0.0070251213191869</c:v>
                </c:pt>
                <c:pt idx="3">
                  <c:v>0.027207169431444304</c:v>
                </c:pt>
                <c:pt idx="4">
                  <c:v>0.02013533255957086</c:v>
                </c:pt>
                <c:pt idx="5">
                  <c:v>0.048441251449156245</c:v>
                </c:pt>
                <c:pt idx="6">
                  <c:v>0.05398730177078099</c:v>
                </c:pt>
                <c:pt idx="7">
                  <c:v>0.07346340284461302</c:v>
                </c:pt>
                <c:pt idx="8">
                  <c:v>0.0943474255142684</c:v>
                </c:pt>
                <c:pt idx="9">
                  <c:v>0.04490236910611779</c:v>
                </c:pt>
                <c:pt idx="10">
                  <c:v>0.0280486774737438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802984488688644</c:v>
                </c:pt>
                <c:pt idx="6">
                  <c:v>0.0012243398259470404</c:v>
                </c:pt>
                <c:pt idx="7">
                  <c:v>0.0011976870432069573</c:v>
                </c:pt>
                <c:pt idx="8">
                  <c:v>0.006686351320270802</c:v>
                </c:pt>
                <c:pt idx="9">
                  <c:v>0.000769604075214459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27904747899661</c:v>
                </c:pt>
                <c:pt idx="4">
                  <c:v>0.0066235142160708076</c:v>
                </c:pt>
                <c:pt idx="5">
                  <c:v>0.0026309427086981525</c:v>
                </c:pt>
                <c:pt idx="6">
                  <c:v>0.0008079767782813096</c:v>
                </c:pt>
                <c:pt idx="7">
                  <c:v>0.00445682956014945</c:v>
                </c:pt>
                <c:pt idx="8">
                  <c:v>0.00520994830093398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630733107213072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9717039586692132</c:v>
                </c:pt>
                <c:pt idx="6">
                  <c:v>0.001933192864623184</c:v>
                </c:pt>
                <c:pt idx="7">
                  <c:v>0.004490808447678215</c:v>
                </c:pt>
                <c:pt idx="8">
                  <c:v>0.005547642582397839</c:v>
                </c:pt>
                <c:pt idx="9">
                  <c:v>0.006081643930679642</c:v>
                </c:pt>
                <c:pt idx="10">
                  <c:v>0.00516121560039610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03682315836589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507400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027391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785805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13191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300732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740684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88958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693953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37441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53011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0584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063087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76955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18293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66805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15338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60572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62429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628724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987522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1907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16700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41129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748892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723598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695326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235629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